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147481521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575D62"/>
    <a:srgbClr val="404040"/>
    <a:srgbClr val="EBEDF4"/>
    <a:srgbClr val="EDEFF5"/>
    <a:srgbClr val="94EFE3"/>
    <a:srgbClr val="E74B00"/>
    <a:srgbClr val="565E61"/>
    <a:srgbClr val="FF0000"/>
    <a:srgbClr val="575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508B9E-1F77-4CE9-A295-0DFF036B6C3A}" v="2" dt="2024-11-28T13:23:53.961"/>
    <p1510:client id="{9B414CFA-D713-477F-B6A3-143DAD1E19DC}" v="1" dt="2024-11-28T12:30:38.485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82" d="100"/>
          <a:sy n="82" d="100"/>
        </p:scale>
        <p:origin x="552" y="72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791ba54c-1f49-4f2e-b537-01eab0413206" providerId="ADAL" clId="{B2DA6559-9FD2-427B-8165-BA7FB694B075}"/>
    <pc:docChg chg="undo custSel addSld delSld">
      <pc:chgData name="Faure, Didier" userId="791ba54c-1f49-4f2e-b537-01eab0413206" providerId="ADAL" clId="{B2DA6559-9FD2-427B-8165-BA7FB694B075}" dt="2024-10-14T16:47:35.097" v="5" actId="47"/>
      <pc:docMkLst>
        <pc:docMk/>
      </pc:docMkLst>
      <pc:sldChg chg="add del">
        <pc:chgData name="Faure, Didier" userId="791ba54c-1f49-4f2e-b537-01eab0413206" providerId="ADAL" clId="{B2DA6559-9FD2-427B-8165-BA7FB694B075}" dt="2024-10-14T16:47:35.097" v="5" actId="47"/>
        <pc:sldMkLst>
          <pc:docMk/>
          <pc:sldMk cId="2397911690" sldId="382"/>
        </pc:sldMkLst>
      </pc:sldChg>
      <pc:sldChg chg="del">
        <pc:chgData name="Faure, Didier" userId="791ba54c-1f49-4f2e-b537-01eab0413206" providerId="ADAL" clId="{B2DA6559-9FD2-427B-8165-BA7FB694B075}" dt="2024-10-14T16:47:31.929" v="4" actId="47"/>
        <pc:sldMkLst>
          <pc:docMk/>
          <pc:sldMk cId="4000004839" sldId="2147476634"/>
        </pc:sldMkLst>
      </pc:sldChg>
      <pc:sldChg chg="add del">
        <pc:chgData name="Faure, Didier" userId="791ba54c-1f49-4f2e-b537-01eab0413206" providerId="ADAL" clId="{B2DA6559-9FD2-427B-8165-BA7FB694B075}" dt="2024-10-14T16:47:29.114" v="3" actId="47"/>
        <pc:sldMkLst>
          <pc:docMk/>
          <pc:sldMk cId="3345766336" sldId="2147481521"/>
        </pc:sldMkLst>
      </pc:sldChg>
      <pc:sldChg chg="add del">
        <pc:chgData name="Faure, Didier" userId="791ba54c-1f49-4f2e-b537-01eab0413206" providerId="ADAL" clId="{B2DA6559-9FD2-427B-8165-BA7FB694B075}" dt="2024-10-14T16:47:35.097" v="5" actId="47"/>
        <pc:sldMkLst>
          <pc:docMk/>
          <pc:sldMk cId="2008759033" sldId="2147481522"/>
        </pc:sldMkLst>
      </pc:sldChg>
      <pc:sldChg chg="add del">
        <pc:chgData name="Faure, Didier" userId="791ba54c-1f49-4f2e-b537-01eab0413206" providerId="ADAL" clId="{B2DA6559-9FD2-427B-8165-BA7FB694B075}" dt="2024-10-14T16:47:35.097" v="5" actId="47"/>
        <pc:sldMkLst>
          <pc:docMk/>
          <pc:sldMk cId="3913440041" sldId="2147481537"/>
        </pc:sldMkLst>
      </pc:sldChg>
      <pc:sldChg chg="add del">
        <pc:chgData name="Faure, Didier" userId="791ba54c-1f49-4f2e-b537-01eab0413206" providerId="ADAL" clId="{B2DA6559-9FD2-427B-8165-BA7FB694B075}" dt="2024-10-14T16:47:35.097" v="5" actId="47"/>
        <pc:sldMkLst>
          <pc:docMk/>
          <pc:sldMk cId="148180158" sldId="2147481538"/>
        </pc:sldMkLst>
      </pc:sldChg>
      <pc:sldChg chg="add del">
        <pc:chgData name="Faure, Didier" userId="791ba54c-1f49-4f2e-b537-01eab0413206" providerId="ADAL" clId="{B2DA6559-9FD2-427B-8165-BA7FB694B075}" dt="2024-10-14T16:47:35.097" v="5" actId="47"/>
        <pc:sldMkLst>
          <pc:docMk/>
          <pc:sldMk cId="4275293963" sldId="2147481540"/>
        </pc:sldMkLst>
      </pc:sldChg>
      <pc:sldMasterChg chg="addSldLayout delSldLayout">
        <pc:chgData name="Faure, Didier" userId="791ba54c-1f49-4f2e-b537-01eab0413206" providerId="ADAL" clId="{B2DA6559-9FD2-427B-8165-BA7FB694B075}" dt="2024-10-14T16:47:31.929" v="4" actId="47"/>
        <pc:sldMasterMkLst>
          <pc:docMk/>
          <pc:sldMasterMk cId="4281836575" sldId="2147483697"/>
        </pc:sldMasterMkLst>
        <pc:sldLayoutChg chg="del">
          <pc:chgData name="Faure, Didier" userId="791ba54c-1f49-4f2e-b537-01eab0413206" providerId="ADAL" clId="{B2DA6559-9FD2-427B-8165-BA7FB694B075}" dt="2024-10-14T16:47:31.929" v="4" actId="47"/>
          <pc:sldLayoutMkLst>
            <pc:docMk/>
            <pc:sldMasterMk cId="4281836575" sldId="2147483697"/>
            <pc:sldLayoutMk cId="1458691814" sldId="2147483707"/>
          </pc:sldLayoutMkLst>
        </pc:sldLayoutChg>
        <pc:sldLayoutChg chg="add del">
          <pc:chgData name="Faure, Didier" userId="791ba54c-1f49-4f2e-b537-01eab0413206" providerId="ADAL" clId="{B2DA6559-9FD2-427B-8165-BA7FB694B075}" dt="2024-10-14T16:47:25.503" v="2" actId="47"/>
          <pc:sldLayoutMkLst>
            <pc:docMk/>
            <pc:sldMasterMk cId="4281836575" sldId="2147483697"/>
            <pc:sldLayoutMk cId="2075356088" sldId="2147483714"/>
          </pc:sldLayoutMkLst>
        </pc:sldLayoutChg>
      </pc:sldMasterChg>
    </pc:docChg>
  </pc:docChgLst>
  <pc:docChgLst>
    <pc:chgData name="Faure, Didier" userId="791ba54c-1f49-4f2e-b537-01eab0413206" providerId="ADAL" clId="{9B414CFA-D713-477F-B6A3-143DAD1E19DC}"/>
    <pc:docChg chg="custSel modSld">
      <pc:chgData name="Faure, Didier" userId="791ba54c-1f49-4f2e-b537-01eab0413206" providerId="ADAL" clId="{9B414CFA-D713-477F-B6A3-143DAD1E19DC}" dt="2024-11-28T12:42:11.446" v="243" actId="20577"/>
      <pc:docMkLst>
        <pc:docMk/>
      </pc:docMkLst>
      <pc:sldChg chg="addSp delSp modSp mod">
        <pc:chgData name="Faure, Didier" userId="791ba54c-1f49-4f2e-b537-01eab0413206" providerId="ADAL" clId="{9B414CFA-D713-477F-B6A3-143DAD1E19DC}" dt="2024-11-28T12:42:11.446" v="243" actId="20577"/>
        <pc:sldMkLst>
          <pc:docMk/>
          <pc:sldMk cId="3345766336" sldId="2147481521"/>
        </pc:sldMkLst>
        <pc:spChg chg="add mod">
          <ac:chgData name="Faure, Didier" userId="791ba54c-1f49-4f2e-b537-01eab0413206" providerId="ADAL" clId="{9B414CFA-D713-477F-B6A3-143DAD1E19DC}" dt="2024-11-28T12:42:11.446" v="243" actId="20577"/>
          <ac:spMkLst>
            <pc:docMk/>
            <pc:sldMk cId="3345766336" sldId="2147481521"/>
            <ac:spMk id="2" creationId="{19756DC4-B593-FD13-2D2A-60AA513DF43E}"/>
          </ac:spMkLst>
        </pc:spChg>
        <pc:spChg chg="del">
          <ac:chgData name="Faure, Didier" userId="791ba54c-1f49-4f2e-b537-01eab0413206" providerId="ADAL" clId="{9B414CFA-D713-477F-B6A3-143DAD1E19DC}" dt="2024-11-22T18:19:46.110" v="14" actId="478"/>
          <ac:spMkLst>
            <pc:docMk/>
            <pc:sldMk cId="3345766336" sldId="2147481521"/>
            <ac:spMk id="44" creationId="{4B8483B9-5165-28EA-0B9D-118116DDD769}"/>
          </ac:spMkLst>
        </pc:spChg>
        <pc:spChg chg="mod">
          <ac:chgData name="Faure, Didier" userId="791ba54c-1f49-4f2e-b537-01eab0413206" providerId="ADAL" clId="{9B414CFA-D713-477F-B6A3-143DAD1E19DC}" dt="2024-11-22T18:22:15.270" v="29" actId="20577"/>
          <ac:spMkLst>
            <pc:docMk/>
            <pc:sldMk cId="3345766336" sldId="2147481521"/>
            <ac:spMk id="61" creationId="{3E8F08BB-7384-E4FB-4CF7-BFAD3ED739A3}"/>
          </ac:spMkLst>
        </pc:spChg>
        <pc:spChg chg="mod">
          <ac:chgData name="Faure, Didier" userId="791ba54c-1f49-4f2e-b537-01eab0413206" providerId="ADAL" clId="{9B414CFA-D713-477F-B6A3-143DAD1E19DC}" dt="2024-11-28T08:51:19.731" v="30" actId="20577"/>
          <ac:spMkLst>
            <pc:docMk/>
            <pc:sldMk cId="3345766336" sldId="2147481521"/>
            <ac:spMk id="62" creationId="{C8150B97-541C-BC17-A789-56F8312ED4DB}"/>
          </ac:spMkLst>
        </pc:spChg>
      </pc:sldChg>
    </pc:docChg>
  </pc:docChgLst>
  <pc:docChgLst>
    <pc:chgData name="Boufagher, Mehdy" userId="a8e82b8c-6d9f-4cb3-895e-aa54cfd06ba1" providerId="ADAL" clId="{61508B9E-1F77-4CE9-A295-0DFF036B6C3A}"/>
    <pc:docChg chg="modSld">
      <pc:chgData name="Boufagher, Mehdy" userId="a8e82b8c-6d9f-4cb3-895e-aa54cfd06ba1" providerId="ADAL" clId="{61508B9E-1F77-4CE9-A295-0DFF036B6C3A}" dt="2024-11-28T13:24:26.322" v="13" actId="2711"/>
      <pc:docMkLst>
        <pc:docMk/>
      </pc:docMkLst>
      <pc:sldChg chg="modSp mod">
        <pc:chgData name="Boufagher, Mehdy" userId="a8e82b8c-6d9f-4cb3-895e-aa54cfd06ba1" providerId="ADAL" clId="{61508B9E-1F77-4CE9-A295-0DFF036B6C3A}" dt="2024-11-28T13:24:26.322" v="13" actId="2711"/>
        <pc:sldMkLst>
          <pc:docMk/>
          <pc:sldMk cId="3345766336" sldId="2147481521"/>
        </pc:sldMkLst>
        <pc:spChg chg="mod">
          <ac:chgData name="Boufagher, Mehdy" userId="a8e82b8c-6d9f-4cb3-895e-aa54cfd06ba1" providerId="ADAL" clId="{61508B9E-1F77-4CE9-A295-0DFF036B6C3A}" dt="2024-11-28T13:24:26.322" v="13" actId="2711"/>
          <ac:spMkLst>
            <pc:docMk/>
            <pc:sldMk cId="3345766336" sldId="2147481521"/>
            <ac:spMk id="61" creationId="{3E8F08BB-7384-E4FB-4CF7-BFAD3ED739A3}"/>
          </ac:spMkLst>
        </pc:spChg>
        <pc:spChg chg="mod">
          <ac:chgData name="Boufagher, Mehdy" userId="a8e82b8c-6d9f-4cb3-895e-aa54cfd06ba1" providerId="ADAL" clId="{61508B9E-1F77-4CE9-A295-0DFF036B6C3A}" dt="2024-11-28T13:24:20.055" v="12" actId="1076"/>
          <ac:spMkLst>
            <pc:docMk/>
            <pc:sldMk cId="3345766336" sldId="2147481521"/>
            <ac:spMk id="81" creationId="{7F8FF035-9BA4-F3F0-474B-3B8CA92BC57C}"/>
          </ac:spMkLst>
        </pc:spChg>
        <pc:spChg chg="mod">
          <ac:chgData name="Boufagher, Mehdy" userId="a8e82b8c-6d9f-4cb3-895e-aa54cfd06ba1" providerId="ADAL" clId="{61508B9E-1F77-4CE9-A295-0DFF036B6C3A}" dt="2024-11-28T13:24:20.055" v="12" actId="1076"/>
          <ac:spMkLst>
            <pc:docMk/>
            <pc:sldMk cId="3345766336" sldId="2147481521"/>
            <ac:spMk id="82" creationId="{E613E64A-8215-A989-D201-A1DE6E0C731D}"/>
          </ac:spMkLst>
        </pc:spChg>
        <pc:picChg chg="mod">
          <ac:chgData name="Boufagher, Mehdy" userId="a8e82b8c-6d9f-4cb3-895e-aa54cfd06ba1" providerId="ADAL" clId="{61508B9E-1F77-4CE9-A295-0DFF036B6C3A}" dt="2024-11-28T13:23:40.048" v="2" actId="1076"/>
          <ac:picMkLst>
            <pc:docMk/>
            <pc:sldMk cId="3345766336" sldId="2147481521"/>
            <ac:picMk id="12" creationId="{EDDCE1BD-F6C7-5F2C-B213-C675056F97C7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8/11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28/1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5356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1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14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png"/><Relationship Id="rId11" Type="http://schemas.openxmlformats.org/officeDocument/2006/relationships/image" Target="../media/image18.png"/><Relationship Id="rId5" Type="http://schemas.microsoft.com/office/2007/relationships/hdphoto" Target="../media/hdphoto4.wdp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8" y="1906671"/>
            <a:ext cx="3240000" cy="4405117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buClr>
                <a:srgbClr val="E64B00"/>
              </a:buClr>
              <a:buFont typeface="Wingdings" pitchFamily="2" charset="2"/>
              <a:buChar char="§"/>
            </a:pPr>
            <a:r>
              <a:rPr lang="en-GB" altLang="fr-FR" sz="1400" kern="0" dirty="0">
                <a:latin typeface="Arial Nova Cond" panose="020B0506020202020204" pitchFamily="34" charset="0"/>
              </a:rPr>
              <a:t>Increased speed and ease to use.</a:t>
            </a:r>
          </a:p>
          <a:p>
            <a:pPr eaLnBrk="1" hangingPunct="1">
              <a:buClr>
                <a:srgbClr val="E64B00"/>
              </a:buClr>
              <a:buFont typeface="Wingdings" pitchFamily="2" charset="2"/>
              <a:buChar char="§"/>
            </a:pPr>
            <a:r>
              <a:rPr lang="en-GB" altLang="fr-FR" sz="1400" kern="0" dirty="0">
                <a:latin typeface="Arial Nova Cond" panose="020B0506020202020204" pitchFamily="34" charset="0"/>
              </a:rPr>
              <a:t>Instant view of HMI pages.</a:t>
            </a:r>
          </a:p>
          <a:p>
            <a:pPr eaLnBrk="1" hangingPunct="1">
              <a:buClr>
                <a:srgbClr val="E64B00"/>
              </a:buClr>
              <a:buFont typeface="Wingdings" pitchFamily="2" charset="2"/>
              <a:buChar char="§"/>
            </a:pPr>
            <a:r>
              <a:rPr lang="en-GB" altLang="fr-FR" sz="1400" kern="0" dirty="0">
                <a:latin typeface="Arial Nova Cond" panose="020B0506020202020204" pitchFamily="34" charset="0"/>
              </a:rPr>
              <a:t>Increased visibility thanks to the latest visual from the Matrix platform.</a:t>
            </a:r>
          </a:p>
          <a:p>
            <a:pPr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400" kern="0" dirty="0">
                <a:latin typeface="Arial Nova Cond" panose="020B0506020202020204" pitchFamily="34" charset="0"/>
              </a:rPr>
              <a:t>All advantages of Windows 10</a:t>
            </a:r>
          </a:p>
          <a:p>
            <a:pPr marL="285750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en-US" sz="1400" kern="0" dirty="0">
                <a:latin typeface="Arial Nova Cond" panose="020B0506020202020204" pitchFamily="34" charset="0"/>
              </a:rPr>
              <a:t>system updates for a longer period</a:t>
            </a:r>
          </a:p>
          <a:p>
            <a:pPr marL="285750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en-US" sz="1400" kern="0" dirty="0">
                <a:latin typeface="Arial Nova Cond" panose="020B0506020202020204" pitchFamily="34" charset="0"/>
              </a:rPr>
              <a:t>excellent virus protection</a:t>
            </a:r>
          </a:p>
          <a:p>
            <a:pPr marL="285750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en-US" sz="1400" kern="0" dirty="0">
                <a:latin typeface="Arial Nova Cond" panose="020B0506020202020204" pitchFamily="34" charset="0"/>
              </a:rPr>
              <a:t>lighter and faster operating system</a:t>
            </a:r>
          </a:p>
          <a:p>
            <a:pPr eaLnBrk="1" hangingPunct="1">
              <a:buClr>
                <a:srgbClr val="E64B00"/>
              </a:buClr>
              <a:buFont typeface="Wingdings" pitchFamily="2" charset="2"/>
              <a:buChar char="§"/>
            </a:pPr>
            <a:endParaRPr lang="en-GB" altLang="fr-FR" sz="1400" kern="0" dirty="0">
              <a:latin typeface="Arial Nova Cond" panose="020B0506020202020204" pitchFamily="34" charset="0"/>
            </a:endParaRPr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603200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47361" y="1819068"/>
            <a:ext cx="3240000" cy="4482202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400" kern="0" dirty="0">
                <a:latin typeface="Arial Nova Cond" panose="020B0506020202020204" pitchFamily="34" charset="0"/>
              </a:rPr>
              <a:t>PC Formula IF5008 Panel PC</a:t>
            </a:r>
            <a:br>
              <a:rPr lang="en-US" sz="1400" kern="0" dirty="0">
                <a:latin typeface="Arial Nova Cond" panose="020B0506020202020204" pitchFamily="34" charset="0"/>
              </a:rPr>
            </a:br>
            <a:r>
              <a:rPr lang="fr-FR" sz="1400" kern="0" dirty="0" err="1">
                <a:latin typeface="Arial Nova Cond" panose="020B0506020202020204" pitchFamily="34" charset="0"/>
              </a:rPr>
              <a:t>equiped</a:t>
            </a:r>
            <a:r>
              <a:rPr lang="fr-FR" sz="1400" kern="0" dirty="0">
                <a:latin typeface="Arial Nova Cond" panose="020B0506020202020204" pitchFamily="34" charset="0"/>
              </a:rPr>
              <a:t> </a:t>
            </a:r>
            <a:r>
              <a:rPr lang="fr-FR" sz="1400" kern="0" dirty="0" err="1">
                <a:latin typeface="Arial Nova Cond" panose="020B0506020202020204" pitchFamily="34" charset="0"/>
              </a:rPr>
              <a:t>with</a:t>
            </a:r>
            <a:endParaRPr lang="fr-FR" sz="1400" kern="0" dirty="0">
              <a:latin typeface="Arial Nova Cond" panose="020B0506020202020204" pitchFamily="34" charset="0"/>
            </a:endParaRPr>
          </a:p>
          <a:p>
            <a:pPr marL="285750" lvl="3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fr-FR" kern="0" dirty="0">
                <a:latin typeface="Arial Nova Cond" panose="020B0506020202020204" pitchFamily="34" charset="0"/>
              </a:rPr>
              <a:t>Licences OS/Win10</a:t>
            </a:r>
          </a:p>
          <a:p>
            <a:pPr marL="285750" lvl="3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fr-FR" kern="0" dirty="0" err="1">
                <a:latin typeface="Arial Nova Cond" panose="020B0506020202020204" pitchFamily="34" charset="0"/>
              </a:rPr>
              <a:t>ServerOPC</a:t>
            </a:r>
            <a:r>
              <a:rPr lang="fr-FR" kern="0" dirty="0">
                <a:latin typeface="Arial Nova Cond" panose="020B0506020202020204" pitchFamily="34" charset="0"/>
              </a:rPr>
              <a:t>/SIEM</a:t>
            </a:r>
          </a:p>
          <a:p>
            <a:pPr marL="285750" lvl="3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fr-FR" kern="0" dirty="0" err="1">
                <a:latin typeface="Arial Nova Cond" panose="020B0506020202020204" pitchFamily="34" charset="0"/>
              </a:rPr>
              <a:t>Citect</a:t>
            </a:r>
            <a:r>
              <a:rPr lang="fr-FR" kern="0" dirty="0">
                <a:latin typeface="Arial Nova Cond" panose="020B0506020202020204" pitchFamily="34" charset="0"/>
              </a:rPr>
              <a:t>/Win10 </a:t>
            </a:r>
          </a:p>
          <a:p>
            <a:pPr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400" kern="0" dirty="0">
                <a:latin typeface="Arial Nova Cond" panose="020B0506020202020204" pitchFamily="34" charset="0"/>
              </a:rPr>
              <a:t>Same design and dimensions as former F1</a:t>
            </a:r>
          </a:p>
          <a:p>
            <a:pPr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400" kern="0" dirty="0">
                <a:latin typeface="Arial Nova Cond" panose="020B0506020202020204" pitchFamily="34" charset="0"/>
              </a:rPr>
              <a:t>Requires PCC panel head adaptation if the upgrades is from the original PCC (IWS).</a:t>
            </a:r>
          </a:p>
          <a:p>
            <a:pPr marL="285750" indent="-285750">
              <a:buClr>
                <a:schemeClr val="accent6">
                  <a:lumMod val="60000"/>
                  <a:lumOff val="40000"/>
                </a:schemeClr>
              </a:buClr>
            </a:pPr>
            <a:endParaRPr lang="en-US" sz="1400" kern="0" dirty="0">
              <a:latin typeface="Arial Nova Cond" panose="020B0506020202020204" pitchFamily="34" charset="0"/>
            </a:endParaRPr>
          </a:p>
          <a:p>
            <a:pPr marL="285750" indent="-285750">
              <a:buClr>
                <a:schemeClr val="accent6">
                  <a:lumMod val="60000"/>
                  <a:lumOff val="40000"/>
                </a:schemeClr>
              </a:buClr>
            </a:pPr>
            <a:endParaRPr lang="en-US" sz="1400" kern="0" dirty="0">
              <a:latin typeface="Arial Nova Cond" panose="020B0506020202020204" pitchFamily="34" charset="0"/>
            </a:endParaRPr>
          </a:p>
          <a:p>
            <a:pPr marL="285750" indent="-285750">
              <a:buClr>
                <a:schemeClr val="accent6">
                  <a:lumMod val="60000"/>
                  <a:lumOff val="40000"/>
                </a:schemeClr>
              </a:buClr>
            </a:pPr>
            <a:r>
              <a:rPr lang="en-US" sz="1400" kern="0" dirty="0">
                <a:latin typeface="Arial Nova Cond" panose="020B0506020202020204" pitchFamily="34" charset="0"/>
              </a:rPr>
              <a:t>x.</a:t>
            </a: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46831" y="1595294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TPION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000" b="1" dirty="0">
                <a:solidFill>
                  <a:srgbClr val="E74B00"/>
                </a:solidFill>
                <a:latin typeface="+mn-lt"/>
                <a:cs typeface="Arial" panose="020B0604020202020204" pitchFamily="34" charset="0"/>
              </a:rPr>
              <a:t>SERIES1 PCC OBSOLESCENCE 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3551" y="742198"/>
            <a:ext cx="9565384" cy="7259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fr-FR" dirty="0">
                <a:latin typeface="Arial Nova Cond" panose="020B0506020202020204" pitchFamily="34" charset="0"/>
              </a:rPr>
              <a:t>Formula 1 PCC windows 10  </a:t>
            </a:r>
            <a:r>
              <a:rPr lang="en-US" dirty="0">
                <a:solidFill>
                  <a:schemeClr val="tx1"/>
                </a:solidFill>
                <a:latin typeface="Arial Nova Cond" panose="020B0506020202020204" pitchFamily="34" charset="0"/>
              </a:rPr>
              <a:t>-  O&amp;U ref 415 </a:t>
            </a:r>
            <a:endParaRPr lang="en-US" altLang="fr-FR" dirty="0">
              <a:solidFill>
                <a:schemeClr val="tx1"/>
              </a:solidFill>
              <a:latin typeface="Arial Nova Cond" panose="020B0506020202020204" pitchFamily="34" charset="0"/>
            </a:endParaRPr>
          </a:p>
          <a:p>
            <a:r>
              <a:rPr lang="en-US" altLang="fr-FR" sz="2000" i="1" dirty="0">
                <a:latin typeface="Arial Nova Cond" panose="020B0506020202020204" pitchFamily="34" charset="0"/>
              </a:rPr>
              <a:t>replacement of PCC IWS or former PCC F1 </a:t>
            </a:r>
            <a:endParaRPr lang="it-IT" sz="2000" i="1" dirty="0">
              <a:solidFill>
                <a:schemeClr val="bg2">
                  <a:lumMod val="60000"/>
                  <a:lumOff val="40000"/>
                </a:schemeClr>
              </a:solidFill>
              <a:latin typeface="Arial Nova Cond" panose="020B0506020202020204" pitchFamily="34" charset="0"/>
            </a:endParaRPr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5 k€ - 30 k€</a:t>
            </a:r>
            <a:br>
              <a:rPr lang="it-IT" dirty="0"/>
            </a:br>
            <a:r>
              <a:rPr lang="it-IT" dirty="0"/>
              <a:t> </a:t>
            </a:r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6F5CBB1E-7EAD-1268-BE31-C74056578596}"/>
              </a:ext>
            </a:extLst>
          </p:cNvPr>
          <p:cNvSpPr txBox="1">
            <a:spLocks/>
          </p:cNvSpPr>
          <p:nvPr/>
        </p:nvSpPr>
        <p:spPr>
          <a:xfrm>
            <a:off x="199050" y="2295658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Equipment lifecycle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E3D8C216-047A-0E7E-482B-070507816A1B}"/>
              </a:ext>
            </a:extLst>
          </p:cNvPr>
          <p:cNvSpPr txBox="1"/>
          <p:nvPr/>
        </p:nvSpPr>
        <p:spPr>
          <a:xfrm>
            <a:off x="199050" y="204931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199050" y="2991684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 man*day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199050" y="2745342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9050" y="3670399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 day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9050" y="3424057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: </a:t>
            </a: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1FDECD4F-9DF8-6612-491B-34F87349BAA1}"/>
              </a:ext>
            </a:extLst>
          </p:cNvPr>
          <p:cNvSpPr txBox="1"/>
          <p:nvPr/>
        </p:nvSpPr>
        <p:spPr>
          <a:xfrm>
            <a:off x="199050" y="4927275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99050" y="6209999"/>
            <a:ext cx="1963125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Series1 equiped with PCC</a:t>
            </a:r>
            <a:br>
              <a:rPr lang="it-IT" dirty="0"/>
            </a:br>
            <a:r>
              <a:rPr lang="it-IT" dirty="0"/>
              <a:t>SBO 1 – SBO 2 excluded</a:t>
            </a: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99050" y="6046347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ED133E87-7334-5DAE-45D3-5C83D05C9F54}"/>
              </a:ext>
            </a:extLst>
          </p:cNvPr>
          <p:cNvSpPr txBox="1">
            <a:spLocks/>
          </p:cNvSpPr>
          <p:nvPr/>
        </p:nvSpPr>
        <p:spPr>
          <a:xfrm>
            <a:off x="199050" y="5164466"/>
            <a:ext cx="2146945" cy="92669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PLC S5/S7 Conversion #423</a:t>
            </a:r>
          </a:p>
          <a:p>
            <a:pPr>
              <a:buClr>
                <a:srgbClr val="E74B00"/>
              </a:buClr>
            </a:pPr>
            <a:r>
              <a:rPr lang="it-IT" dirty="0"/>
              <a:t>TE 300 Heat Controller #991S1</a:t>
            </a:r>
          </a:p>
          <a:p>
            <a:pPr>
              <a:buClr>
                <a:srgbClr val="E74B00"/>
              </a:buClr>
            </a:pPr>
            <a:r>
              <a:rPr lang="it-IT" dirty="0"/>
              <a:t>AC Motor #357</a:t>
            </a:r>
          </a:p>
        </p:txBody>
      </p:sp>
      <p:sp>
        <p:nvSpPr>
          <p:cNvPr id="80" name="Rettangolo 45">
            <a:extLst>
              <a:ext uri="{FF2B5EF4-FFF2-40B4-BE49-F238E27FC236}">
                <a16:creationId xmlns:a16="http://schemas.microsoft.com/office/drawing/2014/main" id="{2ABA18F3-25EE-7420-D47E-2B68A1CEAA9E}"/>
              </a:ext>
            </a:extLst>
          </p:cNvPr>
          <p:cNvSpPr/>
          <p:nvPr/>
        </p:nvSpPr>
        <p:spPr>
          <a:xfrm>
            <a:off x="9572624" y="1590338"/>
            <a:ext cx="2349500" cy="4721450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7F8FF035-9BA4-F3F0-474B-3B8CA92BC57C}"/>
              </a:ext>
            </a:extLst>
          </p:cNvPr>
          <p:cNvSpPr/>
          <p:nvPr/>
        </p:nvSpPr>
        <p:spPr>
          <a:xfrm>
            <a:off x="9541495" y="787044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E613E64A-8215-A989-D201-A1DE6E0C731D}"/>
              </a:ext>
            </a:extLst>
          </p:cNvPr>
          <p:cNvSpPr txBox="1">
            <a:spLocks/>
          </p:cNvSpPr>
          <p:nvPr/>
        </p:nvSpPr>
        <p:spPr>
          <a:xfrm>
            <a:off x="9669576" y="787044"/>
            <a:ext cx="2124465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OBSOLESCENCE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" name="Titre 3">
            <a:extLst>
              <a:ext uri="{FF2B5EF4-FFF2-40B4-BE49-F238E27FC236}">
                <a16:creationId xmlns:a16="http://schemas.microsoft.com/office/drawing/2014/main" id="{6A6E4542-CB43-BFE8-8857-42840A4C51D3}"/>
              </a:ext>
            </a:extLst>
          </p:cNvPr>
          <p:cNvSpPr txBox="1">
            <a:spLocks/>
          </p:cNvSpPr>
          <p:nvPr/>
        </p:nvSpPr>
        <p:spPr>
          <a:xfrm>
            <a:off x="9726627" y="1804693"/>
            <a:ext cx="1965394" cy="46166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000" dirty="0"/>
              <a:t>Screen shots of new HMI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EDDCE1BD-F6C7-5F2C-B213-C675056F97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5931" y="4152489"/>
            <a:ext cx="2530857" cy="262997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030A891-F6B5-CE03-890A-7F233336FA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83344" y="2049166"/>
            <a:ext cx="2128059" cy="1607400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EF540AE-11B0-5B54-A4DE-2DED663456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83344" y="3730427"/>
            <a:ext cx="1727251" cy="1294727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4C5D9A30-3AD7-0750-81F4-DD810C668E5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30441" y="4883709"/>
            <a:ext cx="1739297" cy="1305917"/>
          </a:xfrm>
          <a:prstGeom prst="rect">
            <a:avLst/>
          </a:prstGeom>
        </p:spPr>
      </p:pic>
      <p:sp>
        <p:nvSpPr>
          <p:cNvPr id="2" name="Segnaposto testo 13">
            <a:extLst>
              <a:ext uri="{FF2B5EF4-FFF2-40B4-BE49-F238E27FC236}">
                <a16:creationId xmlns:a16="http://schemas.microsoft.com/office/drawing/2014/main" id="{19756DC4-B593-FD13-2D2A-60AA513DF43E}"/>
              </a:ext>
            </a:extLst>
          </p:cNvPr>
          <p:cNvSpPr txBox="1">
            <a:spLocks/>
          </p:cNvSpPr>
          <p:nvPr/>
        </p:nvSpPr>
        <p:spPr>
          <a:xfrm>
            <a:off x="2630973" y="5164465"/>
            <a:ext cx="2051952" cy="92669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E74B00"/>
              </a:buClr>
              <a:buNone/>
            </a:pPr>
            <a:r>
              <a:rPr lang="it-IT" sz="900" i="1" dirty="0">
                <a:solidFill>
                  <a:srgbClr val="FF0000"/>
                </a:solidFill>
              </a:rPr>
              <a:t>Note:</a:t>
            </a:r>
          </a:p>
          <a:p>
            <a:pPr>
              <a:buClr>
                <a:srgbClr val="E74B00"/>
              </a:buClr>
            </a:pPr>
            <a:r>
              <a:rPr lang="it-IT" sz="900" i="1" dirty="0">
                <a:solidFill>
                  <a:srgbClr val="FF0000"/>
                </a:solidFill>
              </a:rPr>
              <a:t>OS software is covering key functionalities of the equipment to allow equipment uptime.</a:t>
            </a:r>
            <a:br>
              <a:rPr lang="it-IT" sz="900" i="1" dirty="0">
                <a:solidFill>
                  <a:srgbClr val="FF0000"/>
                </a:solidFill>
              </a:rPr>
            </a:br>
            <a:r>
              <a:rPr lang="it-IT" sz="900" i="1" dirty="0">
                <a:solidFill>
                  <a:srgbClr val="FF0000"/>
                </a:solidFill>
              </a:rPr>
              <a:t>Some initial specific functionalities may not be active anymore after this upgrade.</a:t>
            </a:r>
          </a:p>
        </p:txBody>
      </p:sp>
    </p:spTree>
    <p:extLst>
      <p:ext uri="{BB962C8B-B14F-4D97-AF65-F5344CB8AC3E}">
        <p14:creationId xmlns:p14="http://schemas.microsoft.com/office/powerpoint/2010/main" val="3345766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5" ma:contentTypeDescription="Create a new document." ma:contentTypeScope="" ma:versionID="70ba2a0c7f493556dc5396ab5a628fb0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3fd1e753463354bd8d5afc6c462dcc88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1E8C09-A46A-4812-9D6D-DB701F432610}"/>
</file>

<file path=customXml/itemProps2.xml><?xml version="1.0" encoding="utf-8"?>
<ds:datastoreItem xmlns:ds="http://schemas.openxmlformats.org/officeDocument/2006/customXml" ds:itemID="{110E58BE-55CF-41C7-BBA4-7EE949938ABD}">
  <ds:schemaRefs>
    <ds:schemaRef ds:uri="7d5dec9a-9e8b-443d-b3d9-4436fe769d7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7c254b-2107-4f11-bbf4-c30bafcb041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3020</TotalTime>
  <Words>214</Words>
  <Application>Microsoft Office PowerPoint</Application>
  <PresentationFormat>Grand écran</PresentationFormat>
  <Paragraphs>4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Arial Nova Cond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Boufagher, Mehdy</cp:lastModifiedBy>
  <cp:revision>92</cp:revision>
  <dcterms:created xsi:type="dcterms:W3CDTF">2024-01-15T16:40:48Z</dcterms:created>
  <dcterms:modified xsi:type="dcterms:W3CDTF">2024-11-28T13:2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